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1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0B-4970-8914-088B67661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3437680"/>
        <c:axId val="1443438640"/>
      </c:barChart>
      <c:catAx>
        <c:axId val="144343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8640"/>
        <c:crosses val="autoZero"/>
        <c:auto val="1"/>
        <c:lblAlgn val="ctr"/>
        <c:lblOffset val="100"/>
        <c:noMultiLvlLbl val="0"/>
      </c:catAx>
      <c:valAx>
        <c:axId val="1443438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768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847434460265651"/>
          <c:y val="1.3220266182657398E-2"/>
          <c:w val="0.23152565539734346"/>
          <c:h val="6.12286986438629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7D11C-3E1E-64D7-2F62-72253D5B3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D09A02-0FD4-570F-510F-42E9B8A90A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D09A02-0FD4-570F-510F-42E9B8A90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Placeholder 16">
            <a:extLst>
              <a:ext uri="{FF2B5EF4-FFF2-40B4-BE49-F238E27FC236}">
                <a16:creationId xmlns:a16="http://schemas.microsoft.com/office/drawing/2014/main" id="{E24F1032-A70A-6048-DD00-1AD097B832D6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6758180C-F87D-3DE4-47FE-73164BA70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lumn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44DBD0F-95EF-17D4-40CA-5746C2A73D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627A97E-39F4-6E90-97BE-748B159268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2514E67-2199-8CE4-568C-89C926EF4C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164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9</TotalTime>
  <Words>14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olumn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46</cp:revision>
  <dcterms:created xsi:type="dcterms:W3CDTF">2025-07-09T10:57:17Z</dcterms:created>
  <dcterms:modified xsi:type="dcterms:W3CDTF">2025-10-22T09:42:48Z</dcterms:modified>
  <cp:category/>
</cp:coreProperties>
</file>